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9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2" r:id="rId10"/>
    <p:sldId id="4964" r:id="rId11"/>
    <p:sldId id="4965" r:id="rId12"/>
    <p:sldId id="5025" r:id="rId13"/>
    <p:sldId id="5026" r:id="rId14"/>
    <p:sldId id="5014" r:id="rId15"/>
    <p:sldId id="4985" r:id="rId16"/>
    <p:sldId id="5021" r:id="rId17"/>
    <p:sldId id="5016" r:id="rId18"/>
    <p:sldId id="5020" r:id="rId19"/>
    <p:sldId id="5017" r:id="rId20"/>
    <p:sldId id="5019" r:id="rId21"/>
    <p:sldId id="4983" r:id="rId22"/>
    <p:sldId id="4986" r:id="rId23"/>
    <p:sldId id="4987" r:id="rId24"/>
    <p:sldId id="4988" r:id="rId25"/>
    <p:sldId id="4990" r:id="rId26"/>
    <p:sldId id="5022" r:id="rId27"/>
    <p:sldId id="5023" r:id="rId28"/>
    <p:sldId id="5027" r:id="rId29"/>
    <p:sldId id="5011" r:id="rId30"/>
    <p:sldId id="4993" r:id="rId31"/>
    <p:sldId id="4995" r:id="rId32"/>
    <p:sldId id="4994" r:id="rId33"/>
    <p:sldId id="4996" r:id="rId34"/>
    <p:sldId id="4997" r:id="rId35"/>
    <p:sldId id="5004" r:id="rId36"/>
    <p:sldId id="5028" r:id="rId37"/>
    <p:sldId id="5029" r:id="rId3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121" d="100"/>
          <a:sy n="121" d="100"/>
        </p:scale>
        <p:origin x="1896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w Risk, but nice </a:t>
            </a:r>
            <a:r>
              <a:rPr lang="de-DE" dirty="0" err="1"/>
              <a:t>benef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</a:p>
          <a:p>
            <a:pPr fontAlgn="base"/>
            <a:endParaRPr lang="de-DE" dirty="0"/>
          </a:p>
          <a:p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risk</a:t>
            </a:r>
            <a:r>
              <a:rPr lang="de-DE" dirty="0"/>
              <a:t>, but nice </a:t>
            </a:r>
            <a:r>
              <a:rPr lang="de-DE" dirty="0" err="1"/>
              <a:t>benefit</a:t>
            </a:r>
            <a:endParaRPr lang="de-DE" dirty="0"/>
          </a:p>
          <a:p>
            <a:r>
              <a:rPr lang="de-DE" dirty="0"/>
              <a:t>Low </a:t>
            </a:r>
            <a:r>
              <a:rPr lang="de-DE" dirty="0" err="1"/>
              <a:t>profile</a:t>
            </a:r>
            <a:endParaRPr lang="de-DE" dirty="0"/>
          </a:p>
          <a:p>
            <a:r>
              <a:rPr lang="de-DE" dirty="0" err="1"/>
              <a:t>Failure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ok</a:t>
            </a:r>
          </a:p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</a:t>
            </a:r>
            <a:r>
              <a:rPr lang="de-DE" dirty="0" err="1"/>
              <a:t>learn</a:t>
            </a:r>
            <a:endParaRPr lang="de-DE" dirty="0"/>
          </a:p>
          <a:p>
            <a:r>
              <a:rPr lang="de-DE" dirty="0"/>
              <a:t>Management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bu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frai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Der kleine Heimwerker </a:t>
            </a:r>
            <a:r>
              <a:rPr lang="de-DE" sz="24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vs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Ingenieur Tätigke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de-DE" dirty="0"/>
              <a:t>hohes Maß an Automatisierung</a:t>
            </a:r>
          </a:p>
          <a:p>
            <a:pPr fontAlgn="base"/>
            <a:r>
              <a:rPr lang="de-DE" dirty="0"/>
              <a:t>Generalisierung: Modell auf zukünftige Daten verallgemeinert anwendbar?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Der Nutzen ergibt sich durch Vorhersage auf bisher unbekannten Daten in der Zukunft.​</a:t>
            </a:r>
          </a:p>
          <a:p>
            <a:pPr marL="742950" lvl="1" indent="-285750" fontAlgn="base"/>
            <a:r>
              <a:rPr lang="de-DE" sz="1800" dirty="0">
                <a:latin typeface="Source Sans Pro" panose="020B0503030403020204"/>
              </a:rPr>
              <a:t>Auf diesen muss das Modell eine gute Leistung bringen. Nur das ist relevant.​</a:t>
            </a:r>
          </a:p>
          <a:p>
            <a:pPr fontAlgn="base"/>
            <a:r>
              <a:rPr lang="de-DE" dirty="0"/>
              <a:t>über einen längeren Zeitraum stabil bleiben</a:t>
            </a:r>
          </a:p>
          <a:p>
            <a:pPr>
              <a:spcAft>
                <a:spcPts val="1200"/>
              </a:spcAft>
            </a:pPr>
            <a:r>
              <a:rPr lang="de-DE" b="1" dirty="0"/>
              <a:t>Beispiel LLM und </a:t>
            </a:r>
            <a:r>
              <a:rPr lang="de-DE" b="1" dirty="0" err="1"/>
              <a:t>Prompting</a:t>
            </a:r>
            <a:r>
              <a:rPr lang="de-DE" b="1" dirty="0"/>
              <a:t> - können wir das nicht alle?</a:t>
            </a:r>
          </a:p>
          <a:p>
            <a:pPr fontAlgn="base"/>
            <a:r>
              <a:rPr lang="de-DE"/>
              <a:t>Von welcher </a:t>
            </a:r>
            <a:r>
              <a:rPr lang="de-DE" dirty="0"/>
              <a:t>Art </a:t>
            </a:r>
            <a:r>
              <a:rPr lang="de-DE" dirty="0" err="1"/>
              <a:t>Prompting</a:t>
            </a:r>
            <a:r>
              <a:rPr lang="de-DE" dirty="0"/>
              <a:t> sprechen wir ? Muss man unterscheiden von ad hoc </a:t>
            </a:r>
            <a:r>
              <a:rPr lang="de-DE" dirty="0" err="1"/>
              <a:t>Prompting</a:t>
            </a:r>
            <a:endParaRPr lang="de-DE" dirty="0"/>
          </a:p>
          <a:p>
            <a:pPr fontAlgn="base"/>
            <a:r>
              <a:rPr lang="de-DE" dirty="0"/>
              <a:t>Bei Ad hoc sieht man direkt, ob es geht. Man hat ein hohes Maß an menschlicher Überwachung.</a:t>
            </a:r>
          </a:p>
          <a:p>
            <a:pPr fontAlgn="base">
              <a:spcAft>
                <a:spcPts val="1200"/>
              </a:spcAft>
            </a:pPr>
            <a:r>
              <a:rPr lang="de-DE" dirty="0"/>
              <a:t>Unterschied internes Werkzeug und stabiler Service. Plattform Team</a:t>
            </a:r>
          </a:p>
        </p:txBody>
      </p:sp>
    </p:spTree>
    <p:extLst>
      <p:ext uri="{BB962C8B-B14F-4D97-AF65-F5344CB8AC3E}">
        <p14:creationId xmlns:p14="http://schemas.microsoft.com/office/powerpoint/2010/main" val="41450839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08" y="1816189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6659"/>
          <a:stretch/>
        </p:blipFill>
        <p:spPr>
          <a:xfrm>
            <a:off x="276662" y="1816189"/>
            <a:ext cx="11568875" cy="253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Human </a:t>
            </a:r>
            <a:r>
              <a:rPr lang="de-DE" dirty="0" err="1"/>
              <a:t>Ev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r>
              <a:rPr lang="de-DE" dirty="0"/>
              <a:t>LLM-</a:t>
            </a:r>
            <a:r>
              <a:rPr lang="de-DE" dirty="0" err="1"/>
              <a:t>as</a:t>
            </a:r>
            <a:r>
              <a:rPr lang="de-DE" dirty="0"/>
              <a:t>-a-Judge </a:t>
            </a:r>
            <a:r>
              <a:rPr lang="de-DE" dirty="0" err="1"/>
              <a:t>works</a:t>
            </a:r>
            <a:r>
              <a:rPr lang="de-DE" dirty="0"/>
              <a:t>, but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t</a:t>
            </a:r>
            <a:endParaRPr lang="de-DE" dirty="0"/>
          </a:p>
          <a:p>
            <a:r>
              <a:rPr lang="de-DE" dirty="0"/>
              <a:t>Use a strong LL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  <a:p>
            <a:r>
              <a:rPr lang="de-DE" dirty="0"/>
              <a:t>Evaluat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rucial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powerfull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s</a:t>
            </a:r>
            <a:r>
              <a:rPr lang="de-DE" dirty="0"/>
              <a:t> &amp;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dat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inful</a:t>
            </a:r>
            <a:endParaRPr lang="de-DE" dirty="0"/>
          </a:p>
          <a:p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419443" y="4309679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991361"/>
            <a:chOff x="588509" y="3436606"/>
            <a:chExt cx="8272975" cy="7435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28</Words>
  <Application>Microsoft Office PowerPoint</Application>
  <PresentationFormat>Widescreen</PresentationFormat>
  <Paragraphs>541</Paragraphs>
  <Slides>3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Der kleine Heimwerker vs Ingenieur Tätigkeit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Thank you</vt:lpstr>
      <vt:lpstr>Llm-as-a-judge: Idea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42</cp:revision>
  <cp:lastPrinted>2024-09-13T07:39:52Z</cp:lastPrinted>
  <dcterms:created xsi:type="dcterms:W3CDTF">2019-10-15T07:31:09Z</dcterms:created>
  <dcterms:modified xsi:type="dcterms:W3CDTF">2024-09-13T10:22:44Z</dcterms:modified>
</cp:coreProperties>
</file>